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60" r:id="rId1"/>
    <p:sldMasterId id="2147484069" r:id="rId2"/>
    <p:sldMasterId id="2147484366" r:id="rId3"/>
    <p:sldMasterId id="2147484375" r:id="rId4"/>
  </p:sldMasterIdLst>
  <p:notesMasterIdLst>
    <p:notesMasterId r:id="rId6"/>
  </p:notesMasterIdLst>
  <p:handoutMasterIdLst>
    <p:handoutMasterId r:id="rId7"/>
  </p:handoutMasterIdLst>
  <p:sldIdLst>
    <p:sldId id="983" r:id="rId5"/>
  </p:sldIdLst>
  <p:sldSz cx="9144000" cy="6858000" type="screen4x3"/>
  <p:notesSz cx="6724650" cy="9874250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>
          <p15:clr>
            <a:srgbClr val="A4A3A4"/>
          </p15:clr>
        </p15:guide>
        <p15:guide id="2" pos="2880">
          <p15:clr>
            <a:srgbClr val="A4A3A4"/>
          </p15:clr>
        </p15:guide>
        <p15:guide id="3" pos="3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00FF"/>
    <a:srgbClr val="009900"/>
    <a:srgbClr val="33CC33"/>
    <a:srgbClr val="00FF00"/>
    <a:srgbClr val="969696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70" autoAdjust="0"/>
    <p:restoredTop sz="94621" autoAdjust="0"/>
  </p:normalViewPr>
  <p:slideViewPr>
    <p:cSldViewPr>
      <p:cViewPr varScale="1">
        <p:scale>
          <a:sx n="106" d="100"/>
          <a:sy n="106" d="100"/>
        </p:scale>
        <p:origin x="1170" y="114"/>
      </p:cViewPr>
      <p:guideLst>
        <p:guide orient="horz" pos="2432"/>
        <p:guide pos="288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/>
            </a:lvl1pPr>
          </a:lstStyle>
          <a:p>
            <a:fld id="{15BEB683-096C-4622-B67B-946CA3D994B1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25750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5350" y="741363"/>
            <a:ext cx="4935538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9475"/>
            <a:ext cx="5380038" cy="444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/>
            </a:lvl1pPr>
          </a:lstStyle>
          <a:p>
            <a:fld id="{78381F42-BD60-4392-A312-7D977B086CE2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0482039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5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>
                <a:solidFill>
                  <a:srgbClr val="FFFFFF"/>
                </a:solidFill>
              </a:rPr>
            </a:br>
            <a:r>
              <a:rPr lang="en-GB" altLang="fr-FR" sz="80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351487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90367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05351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161200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>
                <a:solidFill>
                  <a:srgbClr val="FFFFFF"/>
                </a:solidFill>
              </a:rPr>
            </a:br>
            <a:r>
              <a:rPr lang="en-GB" altLang="fr-FR" sz="80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6389453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0734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>
                <a:solidFill>
                  <a:srgbClr val="FFFFFF"/>
                </a:solidFill>
              </a:rPr>
            </a:br>
            <a:r>
              <a:rPr lang="en-GB" altLang="fr-FR" sz="80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173767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180257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7188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7370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760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08338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6282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40389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57441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278821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657226" y="6559241"/>
            <a:ext cx="501740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48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1" y="2156103"/>
            <a:ext cx="6408737" cy="827855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294693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377950" y="6479866"/>
            <a:ext cx="88646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48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848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9 July 2019</a:t>
            </a:fld>
            <a:endParaRPr lang="en-GB" sz="848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47700" y="6479866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48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848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sz="848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7723188" y="6499226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497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2507781"/>
            <a:ext cx="7993063" cy="5802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986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43537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noProof="1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976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577783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04560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194433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>
                <a:solidFill>
                  <a:srgbClr val="FFFFFF"/>
                </a:solidFill>
              </a:rPr>
            </a:br>
            <a:r>
              <a:rPr lang="en-GB" altLang="fr-FR" sz="80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767400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53491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>
                <a:solidFill>
                  <a:srgbClr val="FFFFFF"/>
                </a:solidFill>
              </a:rPr>
            </a:br>
            <a:r>
              <a:rPr lang="en-GB" altLang="fr-FR" sz="80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9950079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33737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4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27.xml"/><Relationship Id="rId9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Hintergrun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 66" descr="shadow-v2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master title style</a:t>
            </a:r>
            <a:endParaRPr lang="en-GB" altLang="fr-FR"/>
          </a:p>
        </p:txBody>
      </p:sp>
      <p:grpSp>
        <p:nvGrpSpPr>
          <p:cNvPr id="3078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3082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9 July 2019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AB38B253-80D7-4A81-AEA1-E937B9E3335F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N°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308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08F6E25-E32D-4D04-9D0F-158E79A21DD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59" r:id="rId1"/>
    <p:sldLayoutId id="2147484346" r:id="rId2"/>
    <p:sldLayoutId id="2147484347" r:id="rId3"/>
    <p:sldLayoutId id="2147484348" r:id="rId4"/>
    <p:sldLayoutId id="2147484360" r:id="rId5"/>
    <p:sldLayoutId id="2147484361" r:id="rId6"/>
    <p:sldLayoutId id="2147484349" r:id="rId7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 descr="Hintergrund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master title style</a:t>
            </a:r>
            <a:endParaRPr lang="en-GB" altLang="fr-FR"/>
          </a:p>
        </p:txBody>
      </p:sp>
      <p:grpSp>
        <p:nvGrpSpPr>
          <p:cNvPr id="4102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4106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7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8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9 July 2019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6D28167D-C387-4A0B-A18E-85607D270C1E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N°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4105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EEB83CD-344E-4926-AE00-7F9A8B94A7C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62" r:id="rId1"/>
    <p:sldLayoutId id="2147484350" r:id="rId2"/>
    <p:sldLayoutId id="2147484351" r:id="rId3"/>
    <p:sldLayoutId id="2147484352" r:id="rId4"/>
    <p:sldLayoutId id="2147484363" r:id="rId5"/>
    <p:sldLayoutId id="2147484364" r:id="rId6"/>
    <p:sldLayoutId id="2147484353" r:id="rId7"/>
    <p:sldLayoutId id="2147484365" r:id="rId8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9 July 2019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AA7429A-EA9F-487E-95AA-F6AA0C11B7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35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1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35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1" y="1485901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7950" y="6479866"/>
            <a:ext cx="88646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48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848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9 July 2019</a:t>
            </a:fld>
            <a:endParaRPr lang="en-GB" sz="848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9866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48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848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sz="848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7723188" y="6499226"/>
            <a:ext cx="920750" cy="252413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94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86F1D34-0144-4BEF-A2D3-87E638D8F82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28731358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4379" r:id="rId4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829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5pPr>
      <a:lvl6pPr marL="431024"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6pPr>
      <a:lvl7pPr marL="862049"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7pPr>
      <a:lvl8pPr marL="1293073"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8pPr>
      <a:lvl9pPr marL="1724097" algn="l" rtl="0" fontAlgn="base">
        <a:spcBef>
          <a:spcPct val="0"/>
        </a:spcBef>
        <a:spcAft>
          <a:spcPct val="0"/>
        </a:spcAft>
        <a:defRPr sz="2829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377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rtl="0" fontAlgn="base">
        <a:spcBef>
          <a:spcPts val="377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rtl="0" fontAlgn="base">
        <a:spcBef>
          <a:spcPts val="377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rtl="0" fontAlgn="base">
        <a:spcBef>
          <a:spcPts val="377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rtl="0" fontAlgn="base">
        <a:spcBef>
          <a:spcPts val="377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2">
            <a:extLst>
              <a:ext uri="{FF2B5EF4-FFF2-40B4-BE49-F238E27FC236}">
                <a16:creationId xmlns:a16="http://schemas.microsoft.com/office/drawing/2014/main" id="{5B943E12-7421-4743-868F-67F8197B551E}"/>
              </a:ext>
            </a:extLst>
          </p:cNvPr>
          <p:cNvGrpSpPr>
            <a:grpSpLocks/>
          </p:cNvGrpSpPr>
          <p:nvPr/>
        </p:nvGrpSpPr>
        <p:grpSpPr bwMode="auto">
          <a:xfrm>
            <a:off x="849217" y="1977685"/>
            <a:ext cx="7732257" cy="3854169"/>
            <a:chOff x="650875" y="1906524"/>
            <a:chExt cx="7991475" cy="4042232"/>
          </a:xfrm>
        </p:grpSpPr>
        <p:sp>
          <p:nvSpPr>
            <p:cNvPr id="20" name="Rechteck 3">
              <a:extLst>
                <a:ext uri="{FF2B5EF4-FFF2-40B4-BE49-F238E27FC236}">
                  <a16:creationId xmlns:a16="http://schemas.microsoft.com/office/drawing/2014/main" id="{24916A1F-38F5-4EEF-9A7C-D0259374032C}"/>
                </a:ext>
              </a:extLst>
            </p:cNvPr>
            <p:cNvSpPr/>
            <p:nvPr/>
          </p:nvSpPr>
          <p:spPr>
            <a:xfrm>
              <a:off x="650875" y="1906524"/>
              <a:ext cx="3889375" cy="393426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97" tIns="63998" rIns="95997" bIns="63998" anchor="ctr"/>
            <a:lstStyle/>
            <a:p>
              <a:pPr defTabSz="812695" eaLnBrk="1" fontAlgn="auto" hangingPunct="1">
                <a:spcBef>
                  <a:spcPts val="267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317" b="1" dirty="0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6" name="Rechteck 4">
              <a:extLst>
                <a:ext uri="{FF2B5EF4-FFF2-40B4-BE49-F238E27FC236}">
                  <a16:creationId xmlns:a16="http://schemas.microsoft.com/office/drawing/2014/main" id="{38865659-E984-435C-B98F-A1DAC339135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97" tIns="63998" rIns="95997" bIns="63998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2974975" algn="l"/>
                  <a:tab pos="3151188" algn="l"/>
                </a:tabLst>
              </a:pPr>
              <a:r>
                <a:rPr lang="en-US" altLang="de-DE" sz="1200" noProof="1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</a:rPr>
                <a:t>Reduction of maintenance time and complexity</a:t>
              </a:r>
            </a:p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2974975" algn="l"/>
                  <a:tab pos="3151188" algn="l"/>
                </a:tabLst>
              </a:pPr>
              <a:r>
                <a:rPr lang="en-US" altLang="fr-FR" sz="12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</a:rPr>
                <a:t>Less intervention time in case of failure</a:t>
              </a:r>
              <a:endParaRPr lang="en-US" altLang="fr-FR" sz="12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endParaRPr>
            </a:p>
            <a:p>
              <a:pPr marL="304760" indent="-304760" defTabSz="812695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066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hteck 11">
              <a:extLst>
                <a:ext uri="{FF2B5EF4-FFF2-40B4-BE49-F238E27FC236}">
                  <a16:creationId xmlns:a16="http://schemas.microsoft.com/office/drawing/2014/main" id="{DCD32DBF-B521-4EEE-8414-5A9B1A362995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97" tIns="63998" rIns="95997" bIns="63998" anchor="ctr"/>
            <a:lstStyle/>
            <a:p>
              <a:pPr marL="169311" indent="-169311" defTabSz="812695" eaLnBrk="1" hangingPunct="1">
                <a:spcBef>
                  <a:spcPts val="267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317" b="1" noProof="1">
                  <a:solidFill>
                    <a:srgbClr val="FFFFFF"/>
                  </a:solidFill>
                  <a:latin typeface="Arial"/>
                  <a:cs typeface="Arial" charset="0"/>
                </a:rPr>
                <a:t>DESCRIPTION</a:t>
              </a:r>
              <a:endParaRPr lang="en-GB" altLang="de-DE" sz="1317" b="1" dirty="0">
                <a:solidFill>
                  <a:srgbClr val="FFFFFF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8" name="Rechteck 12">
              <a:extLst>
                <a:ext uri="{FF2B5EF4-FFF2-40B4-BE49-F238E27FC236}">
                  <a16:creationId xmlns:a16="http://schemas.microsoft.com/office/drawing/2014/main" id="{9AA40653-C4E6-4C86-85F6-1D910C3B7EB7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97" tIns="63998" rIns="95997" bIns="63998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2974975" algn="l"/>
                  <a:tab pos="3151188" algn="l"/>
                </a:tabLst>
              </a:pPr>
              <a:r>
                <a:rPr lang="en-US" altLang="fr-FR" sz="1200" dirty="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rPr>
                <a:t>The new </a:t>
              </a:r>
              <a:r>
                <a:rPr lang="en-GB" altLang="fr-FR" sz="1200" dirty="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rPr>
                <a:t>trolley is fitted with a quick-change system which enables fast and easy substitution of the roller. </a:t>
              </a:r>
            </a:p>
            <a:p>
              <a:pPr marL="304760" indent="-304760" defTabSz="812695" eaLnBrk="1" hangingPunct="1"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066" b="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41986" name="Objekt 5" hidden="1">
            <a:extLst>
              <a:ext uri="{FF2B5EF4-FFF2-40B4-BE49-F238E27FC236}">
                <a16:creationId xmlns:a16="http://schemas.microsoft.com/office/drawing/2014/main" id="{87803A09-EC8D-46C7-82D1-FF4013C30C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1986" name="Objekt 5" hidden="1">
                        <a:extLst>
                          <a:ext uri="{FF2B5EF4-FFF2-40B4-BE49-F238E27FC236}">
                            <a16:creationId xmlns:a16="http://schemas.microsoft.com/office/drawing/2014/main" id="{87803A09-EC8D-46C7-82D1-FF4013C30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4" name="Title 1">
            <a:extLst>
              <a:ext uri="{FF2B5EF4-FFF2-40B4-BE49-F238E27FC236}">
                <a16:creationId xmlns:a16="http://schemas.microsoft.com/office/drawing/2014/main" id="{E69C2B2C-F6A6-4859-BBE6-882E3D900B8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72190" y="511958"/>
            <a:ext cx="7535819" cy="870583"/>
          </a:xfrm>
        </p:spPr>
        <p:txBody>
          <a:bodyPr/>
          <a:lstStyle/>
          <a:p>
            <a:pPr eaLnBrk="1" hangingPunct="1"/>
            <a:r>
              <a:rPr lang="fr-FR" altLang="fr-FR" dirty="0" err="1"/>
              <a:t>Increase</a:t>
            </a:r>
            <a:r>
              <a:rPr lang="fr-FR" altLang="fr-FR" dirty="0"/>
              <a:t> machine </a:t>
            </a:r>
            <a:r>
              <a:rPr lang="fr-FR" altLang="fr-FR" dirty="0" err="1"/>
              <a:t>efficiency</a:t>
            </a:r>
            <a:r>
              <a:rPr lang="fr-FR" altLang="fr-FR" dirty="0"/>
              <a:t> and </a:t>
            </a:r>
            <a:r>
              <a:rPr lang="fr-FR" altLang="fr-FR" dirty="0" err="1"/>
              <a:t>reduce</a:t>
            </a:r>
            <a:r>
              <a:rPr lang="fr-FR" altLang="fr-FR" dirty="0"/>
              <a:t> maintenance </a:t>
            </a:r>
            <a:r>
              <a:rPr lang="fr-FR" altLang="fr-FR" dirty="0" err="1"/>
              <a:t>cost</a:t>
            </a:r>
            <a:endParaRPr lang="en-GB" altLang="en-US" dirty="0">
              <a:solidFill>
                <a:srgbClr val="E64B00"/>
              </a:solidFill>
            </a:endParaRPr>
          </a:p>
        </p:txBody>
      </p:sp>
      <p:sp>
        <p:nvSpPr>
          <p:cNvPr id="42005" name="Text Placeholder 2">
            <a:extLst>
              <a:ext uri="{FF2B5EF4-FFF2-40B4-BE49-F238E27FC236}">
                <a16:creationId xmlns:a16="http://schemas.microsoft.com/office/drawing/2014/main" id="{12180955-36FA-4C4F-AFE6-49AD30113C69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872190" y="1681283"/>
            <a:ext cx="7540309" cy="276999"/>
          </a:xfrm>
        </p:spPr>
        <p:txBody>
          <a:bodyPr>
            <a:spAutoFit/>
          </a:bodyPr>
          <a:lstStyle/>
          <a:p>
            <a:pPr>
              <a:defRPr/>
            </a:pPr>
            <a:r>
              <a:rPr lang="en-GB" altLang="fr-FR" dirty="0"/>
              <a:t>New quick-change trolley  </a:t>
            </a:r>
            <a:endParaRPr lang="fr-FR" altLang="fr-FR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F88D33C-9354-47D8-BD1C-B52B564C9EAD}"/>
              </a:ext>
            </a:extLst>
          </p:cNvPr>
          <p:cNvSpPr txBox="1">
            <a:spLocks/>
          </p:cNvSpPr>
          <p:nvPr/>
        </p:nvSpPr>
        <p:spPr>
          <a:xfrm>
            <a:off x="846125" y="5950857"/>
            <a:ext cx="7522349" cy="3662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fontAlgn="auto">
              <a:spcAft>
                <a:spcPts val="0"/>
              </a:spcAft>
            </a:pPr>
            <a:r>
              <a:rPr lang="en-GB" altLang="fr-F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Value: Cost </a:t>
            </a:r>
            <a:r>
              <a:rPr lang="fr-FR" sz="700" dirty="0" err="1">
                <a:solidFill>
                  <a:srgbClr val="000000"/>
                </a:solidFill>
                <a:latin typeface="Arial"/>
              </a:rPr>
              <a:t>optimization</a:t>
            </a:r>
            <a:endParaRPr lang="fr-FR" sz="700" dirty="0">
              <a:solidFill>
                <a:srgbClr val="000000"/>
              </a:solidFill>
              <a:latin typeface="Arial"/>
            </a:endParaRPr>
          </a:p>
          <a:p>
            <a:pPr fontAlgn="auto">
              <a:spcAft>
                <a:spcPts val="0"/>
              </a:spcAft>
            </a:pPr>
            <a:r>
              <a:rPr lang="en-GB" altLang="fr-F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Equipment: Fillers Europa WM - RFE</a:t>
            </a:r>
          </a:p>
          <a:p>
            <a:pPr fontAlgn="auto">
              <a:spcAft>
                <a:spcPts val="0"/>
              </a:spcAft>
            </a:pPr>
            <a:r>
              <a:rPr lang="en-GB" altLang="fr-F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Catalogue code: SF034</a:t>
            </a: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EBCAB2E9-D44E-4DD9-8FC6-1311ADF5C4FA}"/>
              </a:ext>
            </a:extLst>
          </p:cNvPr>
          <p:cNvSpPr txBox="1"/>
          <p:nvPr/>
        </p:nvSpPr>
        <p:spPr>
          <a:xfrm>
            <a:off x="273516" y="208130"/>
            <a:ext cx="65" cy="1538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781903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00" b="1" dirty="0" err="1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14" name="AutoShape 8">
            <a:extLst>
              <a:ext uri="{FF2B5EF4-FFF2-40B4-BE49-F238E27FC236}">
                <a16:creationId xmlns:a16="http://schemas.microsoft.com/office/drawing/2014/main" id="{55CB29E4-C91B-4069-BCEC-05A9237F1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8484" y="4144833"/>
            <a:ext cx="943494" cy="1406914"/>
          </a:xfrm>
          <a:prstGeom prst="roundRect">
            <a:avLst>
              <a:gd name="adj" fmla="val 16667"/>
            </a:avLst>
          </a:prstGeom>
          <a:solidFill>
            <a:schemeClr val="accent2">
              <a:alpha val="20000"/>
            </a:schemeClr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altLang="fr-FR">
              <a:solidFill>
                <a:srgbClr val="000000"/>
              </a:solidFill>
            </a:endParaRPr>
          </a:p>
        </p:txBody>
      </p:sp>
      <p:cxnSp>
        <p:nvCxnSpPr>
          <p:cNvPr id="15" name="Straight Arrow Connector 4">
            <a:extLst>
              <a:ext uri="{FF2B5EF4-FFF2-40B4-BE49-F238E27FC236}">
                <a16:creationId xmlns:a16="http://schemas.microsoft.com/office/drawing/2014/main" id="{DBD30E31-5607-469A-B129-13D99EFE343C}"/>
              </a:ext>
            </a:extLst>
          </p:cNvPr>
          <p:cNvCxnSpPr>
            <a:cxnSpLocks/>
          </p:cNvCxnSpPr>
          <p:nvPr/>
        </p:nvCxnSpPr>
        <p:spPr>
          <a:xfrm flipH="1">
            <a:off x="6731471" y="4199197"/>
            <a:ext cx="609600" cy="4445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SF034 BIANCA NUOVA">
            <a:extLst>
              <a:ext uri="{FF2B5EF4-FFF2-40B4-BE49-F238E27FC236}">
                <a16:creationId xmlns:a16="http://schemas.microsoft.com/office/drawing/2014/main" id="{DC17AEE6-A0EB-4056-9BB7-1F956DCE1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3469259"/>
            <a:ext cx="808284" cy="216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9" descr="SF034 FOCUS COLOUR">
            <a:extLst>
              <a:ext uri="{FF2B5EF4-FFF2-40B4-BE49-F238E27FC236}">
                <a16:creationId xmlns:a16="http://schemas.microsoft.com/office/drawing/2014/main" id="{90772FC6-F496-43AA-8BA2-B000476FF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346" y="4100065"/>
            <a:ext cx="2188607" cy="142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282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</TotalTime>
  <Words>61</Words>
  <Application>Microsoft Office PowerPoint</Application>
  <PresentationFormat>Affichage à l'écran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1" baseType="lpstr">
      <vt:lpstr>MS PGothic</vt:lpstr>
      <vt:lpstr>MS PGothic</vt:lpstr>
      <vt:lpstr>SimSun</vt:lpstr>
      <vt:lpstr>Arial</vt:lpstr>
      <vt:lpstr>Wingdings</vt:lpstr>
      <vt:lpstr>Sidel Template 2013</vt:lpstr>
      <vt:lpstr>1_Sidel Template 2013</vt:lpstr>
      <vt:lpstr>2_Sidel Template 2013</vt:lpstr>
      <vt:lpstr>2_NewSidel_Template_4x3_with add layouts</vt:lpstr>
      <vt:lpstr>think-cell Folie</vt:lpstr>
      <vt:lpstr>Increase machine efficiency and reduce maintenance c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example 1  of a presentation title</dc:title>
  <dc:creator>Chiara.Ponzi</dc:creator>
  <cp:lastModifiedBy>Sorega, Dan</cp:lastModifiedBy>
  <cp:revision>603</cp:revision>
  <cp:lastPrinted>2013-07-17T15:06:32Z</cp:lastPrinted>
  <dcterms:created xsi:type="dcterms:W3CDTF">2011-09-23T10:16:12Z</dcterms:created>
  <dcterms:modified xsi:type="dcterms:W3CDTF">2019-07-29T15:0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7-29T15:03:14.583507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